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147475279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025" autoAdjust="0"/>
    <p:restoredTop sz="94660"/>
  </p:normalViewPr>
  <p:slideViewPr>
    <p:cSldViewPr snapToGrid="0">
      <p:cViewPr varScale="1">
        <p:scale>
          <a:sx n="79" d="100"/>
          <a:sy n="79" d="100"/>
        </p:scale>
        <p:origin x="36" y="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microsoft.com/office/2007/relationships/hdphoto" Target="../media/hdphoto1.wdp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A1CD7ABD-D5C7-824D-9E5D-F69AAF8A0B0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5524618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1941" y="2109538"/>
            <a:ext cx="10368119" cy="2173705"/>
          </a:xfrm>
        </p:spPr>
        <p:txBody>
          <a:bodyPr/>
          <a:lstStyle>
            <a:lvl1pPr algn="ctr">
              <a:lnSpc>
                <a:spcPct val="80000"/>
              </a:lnSpc>
              <a:defRPr sz="7000">
                <a:solidFill>
                  <a:schemeClr val="bg1"/>
                </a:solidFill>
              </a:defRPr>
            </a:lvl1pPr>
          </a:lstStyle>
          <a:p>
            <a:r>
              <a:rPr lang="nl-NL"/>
              <a:t>Klik om de stijl te bewerken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416E6471-58CC-EF41-B9A4-4BD5504A1A86}"/>
              </a:ext>
            </a:extLst>
          </p:cNvPr>
          <p:cNvCxnSpPr/>
          <p:nvPr userDrawn="1"/>
        </p:nvCxnSpPr>
        <p:spPr>
          <a:xfrm>
            <a:off x="0" y="5585130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C18B55F2-CA18-FA43-BA22-1EEAB0D9877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11941" y="3441424"/>
            <a:ext cx="10368119" cy="679450"/>
          </a:xfrm>
        </p:spPr>
        <p:txBody>
          <a:bodyPr/>
          <a:lstStyle>
            <a:lvl1pPr algn="ctr">
              <a:defRPr sz="15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CA348EC-22F2-7042-B3BA-0C32E9F9544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61926" y="5979950"/>
            <a:ext cx="3068149" cy="4707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5263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  <p15:guide id="2" pos="768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2">
    <p:bg>
      <p:bgPr>
        <a:solidFill>
          <a:srgbClr val="00003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9F2DCED-7556-2A4E-9EF9-783486CA3B8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solidFill>
            <a:schemeClr val="tx2"/>
          </a:solidFill>
        </p:spPr>
        <p:txBody>
          <a:bodyPr/>
          <a:lstStyle>
            <a:lvl1pPr algn="ctr">
              <a:defRPr/>
            </a:lvl1pPr>
          </a:lstStyle>
          <a:p>
            <a:endParaRPr lang="en-US"/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328333" y="316800"/>
            <a:ext cx="3844800" cy="6177454"/>
          </a:xfrm>
          <a:solidFill>
            <a:schemeClr val="bg1">
              <a:alpha val="50000"/>
            </a:schemeClr>
          </a:solidFill>
        </p:spPr>
        <p:txBody>
          <a:bodyPr lIns="432000" tIns="612000" anchor="t"/>
          <a:lstStyle>
            <a:lvl1pPr>
              <a:lnSpc>
                <a:spcPct val="100000"/>
              </a:lnSpc>
              <a:defRPr sz="3500">
                <a:solidFill>
                  <a:schemeClr val="bg1"/>
                </a:solidFill>
              </a:defRPr>
            </a:lvl1pPr>
          </a:lstStyle>
          <a:p>
            <a:r>
              <a:rPr lang="nl-NL"/>
              <a:t>Klik om de stijl te bewerke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FF6CCB4-942D-994A-8C48-B7CDEAEB98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51021" y="2907324"/>
            <a:ext cx="3317847" cy="3261069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defRPr sz="15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68059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  <p15:guide id="2" pos="768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45080" y="2379087"/>
            <a:ext cx="10301840" cy="2099829"/>
          </a:xfrm>
        </p:spPr>
        <p:txBody>
          <a:bodyPr/>
          <a:lstStyle>
            <a:lvl1pPr algn="l">
              <a:lnSpc>
                <a:spcPct val="80000"/>
              </a:lnSpc>
              <a:defRPr sz="7000">
                <a:solidFill>
                  <a:schemeClr val="tx1"/>
                </a:solidFill>
              </a:defRPr>
            </a:lvl1pPr>
          </a:lstStyle>
          <a:p>
            <a:r>
              <a:rPr lang="nl-NL"/>
              <a:t>Klik om de stijl te bewerken</a:t>
            </a:r>
          </a:p>
        </p:txBody>
      </p:sp>
      <p:sp>
        <p:nvSpPr>
          <p:cNvPr id="3" name="Subtitel 2"/>
          <p:cNvSpPr>
            <a:spLocks noGrp="1"/>
          </p:cNvSpPr>
          <p:nvPr>
            <p:ph type="subTitle" idx="1"/>
          </p:nvPr>
        </p:nvSpPr>
        <p:spPr>
          <a:xfrm>
            <a:off x="2658000" y="4248958"/>
            <a:ext cx="6876000" cy="8010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  <a:lvl2pPr marL="4571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/>
              <a:t>Klik om de ondertitelstijl van het model te bewerken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859098D-E50B-F343-BAAE-29C70A79EF5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294109" y="6304290"/>
            <a:ext cx="1312211" cy="2013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3062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  <p15:guide id="2" pos="768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pt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DD4CAFFA-21DC-BD43-879C-D4C2D0EC40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alphaModFix amt="1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9" t="6093" r="766" b="10350"/>
          <a:stretch/>
        </p:blipFill>
        <p:spPr>
          <a:xfrm>
            <a:off x="2" y="9036"/>
            <a:ext cx="12191999" cy="6875585"/>
          </a:xfrm>
          <a:prstGeom prst="rect">
            <a:avLst/>
          </a:prstGeom>
        </p:spPr>
      </p:pic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45080" y="2379087"/>
            <a:ext cx="10301840" cy="2099829"/>
          </a:xfrm>
        </p:spPr>
        <p:txBody>
          <a:bodyPr/>
          <a:lstStyle>
            <a:lvl1pPr algn="l">
              <a:lnSpc>
                <a:spcPct val="80000"/>
              </a:lnSpc>
              <a:defRPr sz="7000">
                <a:solidFill>
                  <a:schemeClr val="bg1"/>
                </a:solidFill>
              </a:defRPr>
            </a:lvl1pPr>
          </a:lstStyle>
          <a:p>
            <a:r>
              <a:rPr lang="nl-NL"/>
              <a:t>Klik om de stijl te bewerken</a:t>
            </a:r>
          </a:p>
        </p:txBody>
      </p:sp>
      <p:sp>
        <p:nvSpPr>
          <p:cNvPr id="3" name="Subtitel 2"/>
          <p:cNvSpPr>
            <a:spLocks noGrp="1"/>
          </p:cNvSpPr>
          <p:nvPr>
            <p:ph type="subTitle" idx="1"/>
          </p:nvPr>
        </p:nvSpPr>
        <p:spPr>
          <a:xfrm>
            <a:off x="2658000" y="4248958"/>
            <a:ext cx="6876000" cy="8010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4571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/>
              <a:t>Klik om de ondertitelstijl van het model te bewerken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859098D-E50B-F343-BAAE-29C70A79EF5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820054" y="6231558"/>
            <a:ext cx="2260319" cy="3467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8544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  <p15:guide id="2" pos="768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l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A1CD7ABD-D5C7-824D-9E5D-F69AAF8A0B0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" y="1"/>
            <a:ext cx="3047999" cy="2759239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416E6471-58CC-EF41-B9A4-4BD5504A1A86}"/>
              </a:ext>
            </a:extLst>
          </p:cNvPr>
          <p:cNvCxnSpPr/>
          <p:nvPr userDrawn="1"/>
        </p:nvCxnSpPr>
        <p:spPr>
          <a:xfrm>
            <a:off x="0" y="5585130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C18B55F2-CA18-FA43-BA22-1EEAB0D9877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11941" y="3441424"/>
            <a:ext cx="10368119" cy="679450"/>
          </a:xfrm>
        </p:spPr>
        <p:txBody>
          <a:bodyPr/>
          <a:lstStyle>
            <a:lvl1pPr algn="ctr">
              <a:defRPr sz="15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CA348EC-22F2-7042-B3BA-0C32E9F9544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61926" y="5979950"/>
            <a:ext cx="3068149" cy="470744"/>
          </a:xfrm>
          <a:prstGeom prst="rect">
            <a:avLst/>
          </a:prstGeom>
        </p:spPr>
      </p:pic>
      <p:sp>
        <p:nvSpPr>
          <p:cNvPr id="8" name="Picture Placeholder 9">
            <a:extLst>
              <a:ext uri="{FF2B5EF4-FFF2-40B4-BE49-F238E27FC236}">
                <a16:creationId xmlns:a16="http://schemas.microsoft.com/office/drawing/2014/main" id="{A97CEDEC-E9C5-3A42-A0A9-0638E1BBAF2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048000" y="1"/>
            <a:ext cx="3048000" cy="2759239"/>
          </a:xfrm>
          <a:solidFill>
            <a:schemeClr val="bg1">
              <a:lumMod val="8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1" name="Picture Placeholder 9">
            <a:extLst>
              <a:ext uri="{FF2B5EF4-FFF2-40B4-BE49-F238E27FC236}">
                <a16:creationId xmlns:a16="http://schemas.microsoft.com/office/drawing/2014/main" id="{BB794DD4-1565-2E4C-9EFF-70455656D62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" y="2759239"/>
            <a:ext cx="3047999" cy="2759239"/>
          </a:xfrm>
          <a:solidFill>
            <a:schemeClr val="bg1">
              <a:lumMod val="8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3" name="Picture Placeholder 9">
            <a:extLst>
              <a:ext uri="{FF2B5EF4-FFF2-40B4-BE49-F238E27FC236}">
                <a16:creationId xmlns:a16="http://schemas.microsoft.com/office/drawing/2014/main" id="{FA5C9760-10B1-B144-8E71-9408DE739EE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048001" y="2759239"/>
            <a:ext cx="3047999" cy="2759239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4" name="Picture Placeholder 9">
            <a:extLst>
              <a:ext uri="{FF2B5EF4-FFF2-40B4-BE49-F238E27FC236}">
                <a16:creationId xmlns:a16="http://schemas.microsoft.com/office/drawing/2014/main" id="{CD5BC110-8FDB-6E45-939D-E92CA68892D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5999" y="1"/>
            <a:ext cx="3047999" cy="2759239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B6C6BC52-890B-1041-8AE5-6F75442C545F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143997" y="1"/>
            <a:ext cx="3048000" cy="2759239"/>
          </a:xfrm>
          <a:solidFill>
            <a:schemeClr val="bg1">
              <a:lumMod val="8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B7C65572-DC29-8748-A4AE-85D0AC7561E2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095999" y="2759239"/>
            <a:ext cx="3047999" cy="2759239"/>
          </a:xfrm>
          <a:solidFill>
            <a:schemeClr val="bg1">
              <a:lumMod val="8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B9F065D2-6F49-9040-AAE1-81042933D72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143999" y="2759239"/>
            <a:ext cx="3047999" cy="2759239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1941" y="2109538"/>
            <a:ext cx="10368119" cy="2173705"/>
          </a:xfrm>
        </p:spPr>
        <p:txBody>
          <a:bodyPr/>
          <a:lstStyle>
            <a:lvl1pPr algn="ctr">
              <a:lnSpc>
                <a:spcPct val="80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nl-NL"/>
              <a:t>Klik om de stijl te bewerken</a:t>
            </a:r>
          </a:p>
        </p:txBody>
      </p:sp>
    </p:spTree>
    <p:extLst>
      <p:ext uri="{BB962C8B-B14F-4D97-AF65-F5344CB8AC3E}">
        <p14:creationId xmlns:p14="http://schemas.microsoft.com/office/powerpoint/2010/main" val="21420302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  <p15:guide id="2" pos="768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bg>
      <p:bgPr>
        <a:solidFill>
          <a:srgbClr val="00003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05A11B0C-2910-E743-9BC0-D40FE94FF09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13591" y="3176221"/>
            <a:ext cx="3600684" cy="552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74361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D17200F-30E9-D09D-E03B-DC9431716E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A097C-2413-4B10-874A-364B408CCC16}" type="datetimeFigureOut">
              <a:rPr lang="en-US" smtClean="0"/>
              <a:t>8/2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549D573-4CA7-C5CB-9EA0-CDBD3C9AE6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492ABE8-34D7-72DB-A169-0C980A17D6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EDF751-E650-4174-8BE7-6149CB42849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634890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">
    <p:bg>
      <p:bgPr>
        <a:solidFill>
          <a:srgbClr val="00003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4C35AC32-B67E-8740-8B72-3E0E1F31C52C}"/>
              </a:ext>
            </a:extLst>
          </p:cNvPr>
          <p:cNvSpPr/>
          <p:nvPr userDrawn="1"/>
        </p:nvSpPr>
        <p:spPr>
          <a:xfrm flipV="1">
            <a:off x="0" y="1384302"/>
            <a:ext cx="12192000" cy="547369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17" tIns="22859" rIns="45717" bIns="2285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00"/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10400" y="0"/>
            <a:ext cx="11371201" cy="1323976"/>
          </a:xfrm>
        </p:spPr>
        <p:txBody>
          <a:bodyPr tIns="648000" anchor="ctr"/>
          <a:lstStyle>
            <a:lvl1pPr algn="ctr" defTabSz="4571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nl-NL" sz="3000" kern="1200" cap="all" baseline="0">
                <a:solidFill>
                  <a:schemeClr val="bg1"/>
                </a:solidFill>
                <a:latin typeface="Adobe Caslon Pro Bold" panose="0205050205050A020403" pitchFamily="18" charset="77"/>
                <a:ea typeface="+mj-ea"/>
                <a:cs typeface="+mj-cs"/>
              </a:defRPr>
            </a:lvl1pPr>
          </a:lstStyle>
          <a:p>
            <a:r>
              <a:rPr lang="nl-NL"/>
              <a:t>Klik om de stijl te bewerken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474494D-F4CD-484B-99D7-A20B6F7F6835}"/>
              </a:ext>
            </a:extLst>
          </p:cNvPr>
          <p:cNvCxnSpPr>
            <a:cxnSpLocks/>
          </p:cNvCxnSpPr>
          <p:nvPr userDrawn="1"/>
        </p:nvCxnSpPr>
        <p:spPr>
          <a:xfrm flipH="1">
            <a:off x="0" y="1441451"/>
            <a:ext cx="12192000" cy="0"/>
          </a:xfrm>
          <a:prstGeom prst="line">
            <a:avLst/>
          </a:prstGeom>
          <a:ln w="25400">
            <a:solidFill>
              <a:srgbClr val="00003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FF6CCB4-942D-994A-8C48-B7CDEAEB98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0400" y="1542074"/>
            <a:ext cx="11371201" cy="431792"/>
          </a:xfrm>
          <a:noFill/>
        </p:spPr>
        <p:txBody>
          <a:bodyPr anchor="t"/>
          <a:lstStyle>
            <a:lvl1pPr algn="ctr">
              <a:spcBef>
                <a:spcPts val="0"/>
              </a:spcBef>
              <a:spcAft>
                <a:spcPts val="1200"/>
              </a:spcAft>
              <a:defRPr sz="2250" b="0" i="0" cap="none" baseline="0">
                <a:latin typeface="HelveticaNeueLT Pro 63 MdEx" panose="020B0605020202020204" pitchFamily="34" charset="77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FE104045-96AE-1A49-A852-5729C615B44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03399" y="2450124"/>
            <a:ext cx="9678030" cy="3718269"/>
          </a:xfrm>
        </p:spPr>
        <p:txBody>
          <a:bodyPr anchor="t"/>
          <a:lstStyle>
            <a:lvl1pPr algn="ctr">
              <a:spcBef>
                <a:spcPts val="0"/>
              </a:spcBef>
              <a:spcAft>
                <a:spcPts val="600"/>
              </a:spcAft>
              <a:defRPr sz="1900"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1" name="Tijdelijke aanduiding voor dianummer 3">
            <a:extLst>
              <a:ext uri="{FF2B5EF4-FFF2-40B4-BE49-F238E27FC236}">
                <a16:creationId xmlns:a16="http://schemas.microsoft.com/office/drawing/2014/main" id="{E73C49F4-150C-4502-812F-4AD3DE70B3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14732" y="6462088"/>
            <a:ext cx="1066869" cy="182563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8033DDFB-1B01-F94B-833A-AB2D266BBC9E}" type="slidenum">
              <a:rPr lang="nl-NL" smtClean="0"/>
              <a:pPr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2019591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  <p15:guide id="2" pos="768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Box">
    <p:bg>
      <p:bgPr>
        <a:solidFill>
          <a:srgbClr val="00003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4C35AC32-B67E-8740-8B72-3E0E1F31C52C}"/>
              </a:ext>
            </a:extLst>
          </p:cNvPr>
          <p:cNvSpPr/>
          <p:nvPr userDrawn="1"/>
        </p:nvSpPr>
        <p:spPr>
          <a:xfrm flipV="1">
            <a:off x="0" y="914402"/>
            <a:ext cx="12192000" cy="594359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17" tIns="22859" rIns="45717" bIns="2285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00"/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2" y="162416"/>
            <a:ext cx="12191999" cy="879561"/>
          </a:xfrm>
        </p:spPr>
        <p:txBody>
          <a:bodyPr anchor="ctr"/>
          <a:lstStyle>
            <a:lvl1pPr algn="ctr" defTabSz="457154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nl-NL" sz="3000" kern="1200" cap="all" baseline="0">
                <a:solidFill>
                  <a:schemeClr val="bg1"/>
                </a:solidFill>
                <a:latin typeface="Adobe Caslon Pro Bold" panose="0205050205050A020403" pitchFamily="18" charset="77"/>
                <a:ea typeface="+mj-ea"/>
                <a:cs typeface="+mj-cs"/>
              </a:defRPr>
            </a:lvl1pPr>
          </a:lstStyle>
          <a:p>
            <a:r>
              <a:rPr lang="nl-NL"/>
              <a:t>Klik om de stijl te bewerken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474494D-F4CD-484B-99D7-A20B6F7F6835}"/>
              </a:ext>
            </a:extLst>
          </p:cNvPr>
          <p:cNvCxnSpPr>
            <a:cxnSpLocks/>
          </p:cNvCxnSpPr>
          <p:nvPr userDrawn="1"/>
        </p:nvCxnSpPr>
        <p:spPr>
          <a:xfrm flipH="1">
            <a:off x="0" y="971550"/>
            <a:ext cx="12192000" cy="0"/>
          </a:xfrm>
          <a:prstGeom prst="line">
            <a:avLst/>
          </a:prstGeom>
          <a:ln w="25400">
            <a:solidFill>
              <a:srgbClr val="00003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12E2BDCA-F7B2-7040-9E90-6E1C4E99C9C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523703" y="1517651"/>
            <a:ext cx="9144595" cy="4575174"/>
          </a:xfrm>
          <a:solidFill>
            <a:schemeClr val="bg1"/>
          </a:solidFill>
          <a:ln>
            <a:solidFill>
              <a:schemeClr val="tx1"/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spcAft>
                <a:spcPts val="1200"/>
              </a:spcAft>
              <a:defRPr sz="2250"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FF6CCB4-942D-994A-8C48-B7CDEAEB98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62873" y="1386715"/>
            <a:ext cx="4066252" cy="260916"/>
          </a:xfrm>
          <a:solidFill>
            <a:schemeClr val="bg1"/>
          </a:solidFill>
        </p:spPr>
        <p:txBody>
          <a:bodyPr anchor="ctr"/>
          <a:lstStyle>
            <a:lvl1pPr algn="ctr">
              <a:spcBef>
                <a:spcPts val="0"/>
              </a:spcBef>
              <a:spcAft>
                <a:spcPts val="1200"/>
              </a:spcAft>
              <a:defRPr sz="1400"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FE2F2967-BF52-9043-953F-657C5A8452AB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1818980" y="1769166"/>
            <a:ext cx="8538545" cy="4025348"/>
          </a:xfrm>
        </p:spPr>
        <p:txBody>
          <a:bodyPr anchor="t"/>
          <a:lstStyle>
            <a:lvl1pPr algn="ctr">
              <a:defRPr/>
            </a:lvl1pPr>
          </a:lstStyle>
          <a:p>
            <a:endParaRPr lang="en-US"/>
          </a:p>
        </p:txBody>
      </p:sp>
      <p:sp>
        <p:nvSpPr>
          <p:cNvPr id="10" name="Tijdelijke aanduiding voor dianummer 3">
            <a:extLst>
              <a:ext uri="{FF2B5EF4-FFF2-40B4-BE49-F238E27FC236}">
                <a16:creationId xmlns:a16="http://schemas.microsoft.com/office/drawing/2014/main" id="{F9E3D138-90E0-4F0A-BA70-A3192070FC18}"/>
              </a:ext>
            </a:extLst>
          </p:cNvPr>
          <p:cNvSpPr txBox="1">
            <a:spLocks/>
          </p:cNvSpPr>
          <p:nvPr userDrawn="1"/>
        </p:nvSpPr>
        <p:spPr>
          <a:xfrm>
            <a:off x="5562566" y="6611725"/>
            <a:ext cx="1066869" cy="18256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35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354" algn="l" defTabSz="91435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709" algn="l" defTabSz="91435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3063" algn="l" defTabSz="91435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7417" algn="l" defTabSz="91435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1771" algn="l" defTabSz="91435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6126" algn="l" defTabSz="91435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400480" algn="l" defTabSz="91435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4834" algn="l" defTabSz="91435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nl-NL" sz="1200">
              <a:latin typeface="HelveticaNeueLT Pro 53 Ex" panose="020B0605020202020204" pitchFamily="34" charset="0"/>
            </a:endParaRPr>
          </a:p>
        </p:txBody>
      </p:sp>
      <p:sp>
        <p:nvSpPr>
          <p:cNvPr id="12" name="Tijdelijke aanduiding voor dianummer 3">
            <a:extLst>
              <a:ext uri="{FF2B5EF4-FFF2-40B4-BE49-F238E27FC236}">
                <a16:creationId xmlns:a16="http://schemas.microsoft.com/office/drawing/2014/main" id="{B2C2AB95-2922-488E-A747-EED7157CF5A5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0714732" y="6462088"/>
            <a:ext cx="1066869" cy="182563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8033DDFB-1B01-F94B-833A-AB2D266BBC9E}" type="slidenum">
              <a:rPr lang="nl-NL" smtClean="0"/>
              <a:pPr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7298949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  <p15:guide id="2" pos="768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locks">
    <p:bg>
      <p:bgPr>
        <a:solidFill>
          <a:srgbClr val="00003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4C35AC32-B67E-8740-8B72-3E0E1F31C52C}"/>
              </a:ext>
            </a:extLst>
          </p:cNvPr>
          <p:cNvSpPr/>
          <p:nvPr userDrawn="1"/>
        </p:nvSpPr>
        <p:spPr>
          <a:xfrm flipV="1">
            <a:off x="0" y="1384302"/>
            <a:ext cx="12192000" cy="547369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17" tIns="22859" rIns="45717" bIns="2285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00"/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10400" y="0"/>
            <a:ext cx="11371201" cy="1323976"/>
          </a:xfrm>
        </p:spPr>
        <p:txBody>
          <a:bodyPr tIns="648000" anchor="ctr"/>
          <a:lstStyle>
            <a:lvl1pPr algn="ctr" defTabSz="4571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nl-NL" sz="3000" kern="1200" cap="all" baseline="0">
                <a:solidFill>
                  <a:schemeClr val="bg1"/>
                </a:solidFill>
                <a:latin typeface="Adobe Caslon Pro Bold" panose="0205050205050A020403" pitchFamily="18" charset="77"/>
                <a:ea typeface="+mj-ea"/>
                <a:cs typeface="+mj-cs"/>
              </a:defRPr>
            </a:lvl1pPr>
          </a:lstStyle>
          <a:p>
            <a:r>
              <a:rPr lang="nl-NL"/>
              <a:t>Klik om de stijl te bewerken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474494D-F4CD-484B-99D7-A20B6F7F6835}"/>
              </a:ext>
            </a:extLst>
          </p:cNvPr>
          <p:cNvCxnSpPr>
            <a:cxnSpLocks/>
          </p:cNvCxnSpPr>
          <p:nvPr userDrawn="1"/>
        </p:nvCxnSpPr>
        <p:spPr>
          <a:xfrm flipH="1">
            <a:off x="0" y="1441451"/>
            <a:ext cx="12192000" cy="0"/>
          </a:xfrm>
          <a:prstGeom prst="line">
            <a:avLst/>
          </a:prstGeom>
          <a:ln w="25400">
            <a:solidFill>
              <a:srgbClr val="00003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FF6CCB4-942D-994A-8C48-B7CDEAEB98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0400" y="1542074"/>
            <a:ext cx="11371201" cy="431792"/>
          </a:xfrm>
          <a:noFill/>
        </p:spPr>
        <p:txBody>
          <a:bodyPr anchor="t"/>
          <a:lstStyle>
            <a:lvl1pPr algn="ctr">
              <a:spcBef>
                <a:spcPts val="0"/>
              </a:spcBef>
              <a:spcAft>
                <a:spcPts val="1200"/>
              </a:spcAft>
              <a:defRPr sz="2250" b="0" i="0" cap="none" baseline="0">
                <a:latin typeface="HelveticaNeueLT Pro 63 MdEx" panose="020B0605020202020204" pitchFamily="34" charset="77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685313D0-F2E7-614F-B102-F4D8C52F0C8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66833" y="2267518"/>
            <a:ext cx="5111533" cy="2633304"/>
          </a:xfrm>
          <a:solidFill>
            <a:schemeClr val="tx2"/>
          </a:solidFill>
        </p:spPr>
        <p:txBody>
          <a:bodyPr anchor="t"/>
          <a:lstStyle>
            <a:lvl1pPr algn="ctr">
              <a:defRPr/>
            </a:lvl1pPr>
          </a:lstStyle>
          <a:p>
            <a:endParaRPr lang="en-US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FE104045-96AE-1A49-A852-5729C615B44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66833" y="5001366"/>
            <a:ext cx="5111533" cy="1284257"/>
          </a:xfrm>
        </p:spPr>
        <p:txBody>
          <a:bodyPr anchor="t"/>
          <a:lstStyle>
            <a:lvl1pPr algn="ctr">
              <a:spcBef>
                <a:spcPts val="0"/>
              </a:spcBef>
              <a:spcAft>
                <a:spcPts val="600"/>
              </a:spcAft>
              <a:defRPr sz="1200"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CC5504FD-5A3E-904C-B249-0200824D38C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13637" y="2250831"/>
            <a:ext cx="5111533" cy="2633304"/>
          </a:xfrm>
          <a:solidFill>
            <a:schemeClr val="tx2"/>
          </a:solidFill>
        </p:spPr>
        <p:txBody>
          <a:bodyPr anchor="t"/>
          <a:lstStyle>
            <a:lvl1pPr algn="ctr">
              <a:defRPr/>
            </a:lvl1pPr>
          </a:lstStyle>
          <a:p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795D8A3A-C851-F447-BB00-182500F23D6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13637" y="5001366"/>
            <a:ext cx="5111533" cy="1284257"/>
          </a:xfrm>
        </p:spPr>
        <p:txBody>
          <a:bodyPr anchor="t"/>
          <a:lstStyle>
            <a:lvl1pPr algn="ctr">
              <a:spcBef>
                <a:spcPts val="0"/>
              </a:spcBef>
              <a:spcAft>
                <a:spcPts val="600"/>
              </a:spcAft>
              <a:defRPr sz="1200"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Tijdelijke aanduiding voor dianummer 3">
            <a:extLst>
              <a:ext uri="{FF2B5EF4-FFF2-40B4-BE49-F238E27FC236}">
                <a16:creationId xmlns:a16="http://schemas.microsoft.com/office/drawing/2014/main" id="{7D536545-DF34-479D-B7D5-9728F9EB805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0714732" y="6462088"/>
            <a:ext cx="1066869" cy="182563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8033DDFB-1B01-F94B-833A-AB2D266BBC9E}" type="slidenum">
              <a:rPr lang="nl-NL" smtClean="0"/>
              <a:pPr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9902486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  <p15:guide id="2" pos="768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Image">
    <p:bg>
      <p:bgPr>
        <a:solidFill>
          <a:srgbClr val="C4CED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E2D51F5-E5D6-D546-9B36-225D5BAEC90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noFill/>
        </p:spPr>
        <p:txBody>
          <a:bodyPr/>
          <a:lstStyle>
            <a:lvl1pPr algn="ctr">
              <a:defRPr/>
            </a:lvl1pPr>
          </a:lstStyle>
          <a:p>
            <a:endParaRPr lang="en-US"/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45080" y="2616670"/>
            <a:ext cx="10301840" cy="2099829"/>
          </a:xfrm>
        </p:spPr>
        <p:txBody>
          <a:bodyPr/>
          <a:lstStyle>
            <a:lvl1pPr algn="l">
              <a:lnSpc>
                <a:spcPct val="80000"/>
              </a:lnSpc>
              <a:defRPr sz="7000">
                <a:solidFill>
                  <a:schemeClr val="bg1"/>
                </a:solidFill>
              </a:defRPr>
            </a:lvl1pPr>
          </a:lstStyle>
          <a:p>
            <a:r>
              <a:rPr lang="nl-NL"/>
              <a:t>Klik om de stijl te bewerken</a:t>
            </a:r>
          </a:p>
        </p:txBody>
      </p:sp>
      <p:sp>
        <p:nvSpPr>
          <p:cNvPr id="3" name="Subtitel 2"/>
          <p:cNvSpPr>
            <a:spLocks noGrp="1"/>
          </p:cNvSpPr>
          <p:nvPr>
            <p:ph type="subTitle" idx="1"/>
          </p:nvPr>
        </p:nvSpPr>
        <p:spPr>
          <a:xfrm>
            <a:off x="2658000" y="4103065"/>
            <a:ext cx="6876000" cy="8010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4571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/>
              <a:t>Klik om de ondertitel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4242548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  <p15:guide id="2" pos="768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D5BDDFFB-32D0-5E47-8A8B-BF1B43DB5625}"/>
              </a:ext>
            </a:extLst>
          </p:cNvPr>
          <p:cNvSpPr/>
          <p:nvPr userDrawn="1"/>
        </p:nvSpPr>
        <p:spPr>
          <a:xfrm flipV="1">
            <a:off x="0" y="1384302"/>
            <a:ext cx="12192000" cy="5473698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17" tIns="22859" rIns="45717" bIns="2285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00"/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10400" y="0"/>
            <a:ext cx="11371201" cy="1323976"/>
          </a:xfrm>
        </p:spPr>
        <p:txBody>
          <a:bodyPr tIns="648000" anchor="ctr"/>
          <a:lstStyle>
            <a:lvl1pPr algn="ctr" defTabSz="4571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nl-NL" sz="3000" kern="1200" cap="all" baseline="0">
                <a:solidFill>
                  <a:schemeClr val="tx1"/>
                </a:solidFill>
                <a:latin typeface="Adobe Caslon Pro Bold" panose="0205050205050A020403" pitchFamily="18" charset="77"/>
                <a:ea typeface="+mj-ea"/>
                <a:cs typeface="+mj-cs"/>
              </a:defRPr>
            </a:lvl1pPr>
          </a:lstStyle>
          <a:p>
            <a:r>
              <a:rPr lang="nl-NL"/>
              <a:t>Klik om de stijl te bewerken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474494D-F4CD-484B-99D7-A20B6F7F6835}"/>
              </a:ext>
            </a:extLst>
          </p:cNvPr>
          <p:cNvCxnSpPr>
            <a:cxnSpLocks/>
          </p:cNvCxnSpPr>
          <p:nvPr userDrawn="1"/>
        </p:nvCxnSpPr>
        <p:spPr>
          <a:xfrm flipH="1">
            <a:off x="0" y="1441451"/>
            <a:ext cx="12192000" cy="0"/>
          </a:xfrm>
          <a:prstGeom prst="line">
            <a:avLst/>
          </a:prstGeom>
          <a:ln w="254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FF6CCB4-942D-994A-8C48-B7CDEAEB98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0400" y="1542074"/>
            <a:ext cx="11371201" cy="431792"/>
          </a:xfrm>
          <a:noFill/>
        </p:spPr>
        <p:txBody>
          <a:bodyPr anchor="t"/>
          <a:lstStyle>
            <a:lvl1pPr algn="ctr">
              <a:spcBef>
                <a:spcPts val="0"/>
              </a:spcBef>
              <a:spcAft>
                <a:spcPts val="1200"/>
              </a:spcAft>
              <a:defRPr sz="2250" b="0" i="0" cap="none" baseline="0">
                <a:solidFill>
                  <a:schemeClr val="bg1"/>
                </a:solidFill>
                <a:latin typeface="HelveticaNeueLT Pro 63 MdEx" panose="020B0605020202020204" pitchFamily="34" charset="77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FE104045-96AE-1A49-A852-5729C615B44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03399" y="2450124"/>
            <a:ext cx="9678030" cy="3718269"/>
          </a:xfrm>
        </p:spPr>
        <p:txBody>
          <a:bodyPr anchor="ctr"/>
          <a:lstStyle>
            <a:lvl1pPr algn="ctr">
              <a:spcBef>
                <a:spcPts val="0"/>
              </a:spcBef>
              <a:spcAft>
                <a:spcPts val="600"/>
              </a:spcAft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893599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  <p15:guide id="2" pos="768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">
    <p:bg>
      <p:bgPr>
        <a:solidFill>
          <a:srgbClr val="00003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4C35AC32-B67E-8740-8B72-3E0E1F31C52C}"/>
              </a:ext>
            </a:extLst>
          </p:cNvPr>
          <p:cNvSpPr/>
          <p:nvPr userDrawn="1"/>
        </p:nvSpPr>
        <p:spPr>
          <a:xfrm>
            <a:off x="3727658" y="0"/>
            <a:ext cx="8464343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17" tIns="22859" rIns="45717" bIns="2285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00"/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328333" y="316800"/>
            <a:ext cx="3228120" cy="6206400"/>
          </a:xfrm>
        </p:spPr>
        <p:txBody>
          <a:bodyPr/>
          <a:lstStyle>
            <a:lvl1pPr>
              <a:lnSpc>
                <a:spcPct val="10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nl-NL"/>
              <a:t>Klik om de stijl te bewerken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474494D-F4CD-484B-99D7-A20B6F7F6835}"/>
              </a:ext>
            </a:extLst>
          </p:cNvPr>
          <p:cNvCxnSpPr>
            <a:cxnSpLocks/>
          </p:cNvCxnSpPr>
          <p:nvPr userDrawn="1"/>
        </p:nvCxnSpPr>
        <p:spPr>
          <a:xfrm>
            <a:off x="3775497" y="0"/>
            <a:ext cx="0" cy="6858000"/>
          </a:xfrm>
          <a:prstGeom prst="line">
            <a:avLst/>
          </a:prstGeom>
          <a:ln w="25400">
            <a:solidFill>
              <a:srgbClr val="00003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FF6CCB4-942D-994A-8C48-B7CDEAEB98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07339" y="520700"/>
            <a:ext cx="6121798" cy="5647692"/>
          </a:xfrm>
        </p:spPr>
        <p:txBody>
          <a:bodyPr anchor="ctr"/>
          <a:lstStyle>
            <a:lvl1pPr>
              <a:spcBef>
                <a:spcPts val="0"/>
              </a:spcBef>
              <a:spcAft>
                <a:spcPts val="1200"/>
              </a:spcAft>
              <a:defRPr sz="2250"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9" name="Tijdelijke aanduiding voor dianummer 3">
            <a:extLst>
              <a:ext uri="{FF2B5EF4-FFF2-40B4-BE49-F238E27FC236}">
                <a16:creationId xmlns:a16="http://schemas.microsoft.com/office/drawing/2014/main" id="{4F4BE738-F6D6-4FF3-AB31-E3E203017C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14732" y="6462088"/>
            <a:ext cx="1066869" cy="182563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8033DDFB-1B01-F94B-833A-AB2D266BBC9E}" type="slidenum">
              <a:rPr lang="nl-NL" smtClean="0"/>
              <a:pPr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1874796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  <p15:guide id="2" pos="768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ntent 2">
    <p:bg>
      <p:bgPr>
        <a:solidFill>
          <a:srgbClr val="00003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E5F0728F-4F28-A74B-9021-92411B659F8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alphaModFix amt="30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0033" t="9281" r="42494" b="1717"/>
          <a:stretch/>
        </p:blipFill>
        <p:spPr>
          <a:xfrm>
            <a:off x="0" y="0"/>
            <a:ext cx="4125294" cy="6858000"/>
          </a:xfrm>
          <a:prstGeom prst="rect">
            <a:avLst/>
          </a:prstGeom>
          <a:solidFill>
            <a:schemeClr val="tx1"/>
          </a:solidFill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4C35AC32-B67E-8740-8B72-3E0E1F31C52C}"/>
              </a:ext>
            </a:extLst>
          </p:cNvPr>
          <p:cNvSpPr/>
          <p:nvPr userDrawn="1"/>
        </p:nvSpPr>
        <p:spPr>
          <a:xfrm>
            <a:off x="4145128" y="0"/>
            <a:ext cx="8046872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17" tIns="22859" rIns="45717" bIns="2285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00"/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328333" y="316800"/>
            <a:ext cx="3844800" cy="6206400"/>
          </a:xfrm>
        </p:spPr>
        <p:txBody>
          <a:bodyPr/>
          <a:lstStyle>
            <a:lvl1pPr>
              <a:lnSpc>
                <a:spcPct val="100000"/>
              </a:lnSpc>
              <a:defRPr sz="3250">
                <a:solidFill>
                  <a:schemeClr val="bg1"/>
                </a:solidFill>
              </a:defRPr>
            </a:lvl1pPr>
          </a:lstStyle>
          <a:p>
            <a:r>
              <a:rPr lang="nl-NL"/>
              <a:t>Klik om de stijl te bewerken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474494D-F4CD-484B-99D7-A20B6F7F6835}"/>
              </a:ext>
            </a:extLst>
          </p:cNvPr>
          <p:cNvCxnSpPr>
            <a:cxnSpLocks/>
          </p:cNvCxnSpPr>
          <p:nvPr userDrawn="1"/>
        </p:nvCxnSpPr>
        <p:spPr>
          <a:xfrm>
            <a:off x="4192967" y="0"/>
            <a:ext cx="0" cy="6858000"/>
          </a:xfrm>
          <a:prstGeom prst="line">
            <a:avLst/>
          </a:prstGeom>
          <a:ln w="25400">
            <a:solidFill>
              <a:srgbClr val="00003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FF6CCB4-942D-994A-8C48-B7CDEAEB98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07339" y="520700"/>
            <a:ext cx="6121798" cy="5647692"/>
          </a:xfrm>
        </p:spPr>
        <p:txBody>
          <a:bodyPr anchor="ctr"/>
          <a:lstStyle>
            <a:lvl1pPr>
              <a:spcBef>
                <a:spcPts val="0"/>
              </a:spcBef>
              <a:spcAft>
                <a:spcPts val="1200"/>
              </a:spcAft>
              <a:defRPr sz="2250"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9" name="Tijdelijke aanduiding voor dianummer 3">
            <a:extLst>
              <a:ext uri="{FF2B5EF4-FFF2-40B4-BE49-F238E27FC236}">
                <a16:creationId xmlns:a16="http://schemas.microsoft.com/office/drawing/2014/main" id="{61A676DF-DD9E-411E-AD0C-EAE2AB62DF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14732" y="6462088"/>
            <a:ext cx="1066869" cy="182563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8033DDFB-1B01-F94B-833A-AB2D266BBC9E}" type="slidenum">
              <a:rPr lang="nl-NL" smtClean="0"/>
              <a:pPr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0772053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  <p15:guide id="2" pos="768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2">
    <p:bg>
      <p:bgPr>
        <a:solidFill>
          <a:srgbClr val="00003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9F2DCED-7556-2A4E-9EF9-783486CA3B8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8347200" cy="6858000"/>
          </a:xfrm>
          <a:solidFill>
            <a:schemeClr val="tx2"/>
          </a:solidFill>
        </p:spPr>
        <p:txBody>
          <a:bodyPr anchor="ctr"/>
          <a:lstStyle>
            <a:lvl1pPr algn="ctr">
              <a:defRPr/>
            </a:lvl1pPr>
          </a:lstStyle>
          <a:p>
            <a:endParaRPr lang="en-US"/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8347200" y="316800"/>
            <a:ext cx="3844800" cy="6177454"/>
          </a:xfrm>
          <a:noFill/>
        </p:spPr>
        <p:txBody>
          <a:bodyPr lIns="432000" tIns="612000" anchor="t"/>
          <a:lstStyle>
            <a:lvl1pPr>
              <a:lnSpc>
                <a:spcPct val="100000"/>
              </a:lnSpc>
              <a:defRPr sz="3500">
                <a:solidFill>
                  <a:schemeClr val="bg1"/>
                </a:solidFill>
              </a:defRPr>
            </a:lvl1pPr>
          </a:lstStyle>
          <a:p>
            <a:r>
              <a:rPr lang="nl-NL"/>
              <a:t>Klik om de stijl te bewerke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FF6CCB4-942D-994A-8C48-B7CDEAEB98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569888" y="2907324"/>
            <a:ext cx="3317847" cy="3261069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defRPr sz="15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0" name="Tijdelijke aanduiding voor dianummer 3">
            <a:extLst>
              <a:ext uri="{FF2B5EF4-FFF2-40B4-BE49-F238E27FC236}">
                <a16:creationId xmlns:a16="http://schemas.microsoft.com/office/drawing/2014/main" id="{469F2922-F106-47DD-9F4C-F87C22B267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14732" y="6462088"/>
            <a:ext cx="1066869" cy="182563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fld id="{8033DDFB-1B01-F94B-833A-AB2D266BBC9E}" type="slidenum">
              <a:rPr lang="nl-NL" smtClean="0"/>
              <a:pPr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503789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  <p15:guide id="2" pos="768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865172386"/>
              </p:ext>
            </p:extLst>
          </p:nvPr>
        </p:nvGraphicFramePr>
        <p:xfrm>
          <a:off x="2118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395" imgH="394" progId="TCLayout.ActiveDocument.1">
                  <p:embed/>
                </p:oleObj>
              </mc:Choice>
              <mc:Fallback>
                <p:oleObj name="think-cell Slide" r:id="rId19" imgW="395" imgH="394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2118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FB64ED4-466B-47D2-A9FE-A7B7F926513B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1"/>
            <a:ext cx="79380" cy="79375"/>
          </a:xfrm>
          <a:prstGeom prst="rect">
            <a:avLst/>
          </a:prstGeom>
          <a:solidFill>
            <a:srgbClr val="00003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nl-NL" sz="4400" b="0" i="0" baseline="0">
              <a:latin typeface="Adobe Caslon Pro Bold" panose="0205050205050A020403" pitchFamily="18" charset="0"/>
              <a:ea typeface="+mj-ea"/>
              <a:cs typeface="+mj-cs"/>
              <a:sym typeface="Adobe Caslon Pro" panose="0205050205050A020403" pitchFamily="18" charset="0"/>
            </a:endParaRPr>
          </a:p>
        </p:txBody>
      </p:sp>
      <p:sp>
        <p:nvSpPr>
          <p:cNvPr id="2" name="Tijdelijke aanduiding voor 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nl-NL"/>
              <a:t>Titelstijl van model bewerken</a:t>
            </a:r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609600" y="1600203"/>
            <a:ext cx="10972800" cy="45259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/>
              <a:t>Klik om de tekst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8737438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algn="l" defTabSz="457154" rtl="0" eaLnBrk="1" latinLnBrk="0" hangingPunct="1">
        <a:spcBef>
          <a:spcPct val="0"/>
        </a:spcBef>
        <a:buNone/>
        <a:defRPr sz="4400" kern="1200" cap="all" baseline="0">
          <a:solidFill>
            <a:srgbClr val="000032"/>
          </a:solidFill>
          <a:latin typeface="Adobe Caslon Pro Bold" panose="0205050205050A020403" pitchFamily="18" charset="77"/>
          <a:ea typeface="+mj-ea"/>
          <a:cs typeface="+mj-cs"/>
        </a:defRPr>
      </a:lvl1pPr>
    </p:titleStyle>
    <p:bodyStyle>
      <a:lvl1pPr marL="0" indent="0" algn="l" defTabSz="457154" rtl="0" eaLnBrk="1" latinLnBrk="0" hangingPunct="1">
        <a:spcBef>
          <a:spcPct val="20000"/>
        </a:spcBef>
        <a:buFont typeface="Arial"/>
        <a:buNone/>
        <a:defRPr sz="2000" b="0" i="0" kern="1200">
          <a:solidFill>
            <a:srgbClr val="000032"/>
          </a:solidFill>
          <a:latin typeface="Helvetica Neue LT Pro 53 Extend" panose="020B0605020202020204" pitchFamily="34" charset="77"/>
          <a:ea typeface="+mn-ea"/>
          <a:cs typeface="+mn-cs"/>
        </a:defRPr>
      </a:lvl1pPr>
      <a:lvl2pPr marL="457154" indent="0" algn="l" defTabSz="457154" rtl="0" eaLnBrk="1" latinLnBrk="0" hangingPunct="1">
        <a:spcBef>
          <a:spcPct val="20000"/>
        </a:spcBef>
        <a:buFont typeface="Arial"/>
        <a:buNone/>
        <a:defRPr sz="2800" b="0" i="0" kern="1200">
          <a:solidFill>
            <a:srgbClr val="000032"/>
          </a:solidFill>
          <a:latin typeface="Helvetica Neue LT Pro 53 Extend" panose="020B0605020202020204" pitchFamily="34" charset="77"/>
          <a:ea typeface="+mn-ea"/>
          <a:cs typeface="+mn-cs"/>
        </a:defRPr>
      </a:lvl2pPr>
      <a:lvl3pPr marL="914310" indent="0" algn="l" defTabSz="457154" rtl="0" eaLnBrk="1" latinLnBrk="0" hangingPunct="1">
        <a:spcBef>
          <a:spcPct val="20000"/>
        </a:spcBef>
        <a:buFont typeface="Arial"/>
        <a:buNone/>
        <a:defRPr sz="2400" b="0" i="0" kern="1200">
          <a:solidFill>
            <a:srgbClr val="000032"/>
          </a:solidFill>
          <a:latin typeface="Helvetica Neue LT Pro 53 Extend" panose="020B0605020202020204" pitchFamily="34" charset="77"/>
          <a:ea typeface="+mn-ea"/>
          <a:cs typeface="+mn-cs"/>
        </a:defRPr>
      </a:lvl3pPr>
      <a:lvl4pPr marL="1371464" indent="0" algn="l" defTabSz="457154" rtl="0" eaLnBrk="1" latinLnBrk="0" hangingPunct="1">
        <a:spcBef>
          <a:spcPct val="20000"/>
        </a:spcBef>
        <a:buFont typeface="Arial"/>
        <a:buNone/>
        <a:defRPr sz="2000" b="0" i="0" kern="1200">
          <a:solidFill>
            <a:srgbClr val="000032"/>
          </a:solidFill>
          <a:latin typeface="Helvetica Neue LT Pro 53 Extend" panose="020B0605020202020204" pitchFamily="34" charset="77"/>
          <a:ea typeface="+mn-ea"/>
          <a:cs typeface="+mn-cs"/>
        </a:defRPr>
      </a:lvl4pPr>
      <a:lvl5pPr marL="1828618" indent="0" algn="l" defTabSz="457154" rtl="0" eaLnBrk="1" latinLnBrk="0" hangingPunct="1">
        <a:spcBef>
          <a:spcPct val="20000"/>
        </a:spcBef>
        <a:buFont typeface="Arial"/>
        <a:buNone/>
        <a:defRPr sz="2000" b="0" i="0" kern="1200">
          <a:solidFill>
            <a:srgbClr val="000032"/>
          </a:solidFill>
          <a:latin typeface="Helvetica Neue LT Pro 53 Extend" panose="020B0605020202020204" pitchFamily="34" charset="77"/>
          <a:ea typeface="+mn-ea"/>
          <a:cs typeface="+mn-cs"/>
        </a:defRPr>
      </a:lvl5pPr>
      <a:lvl6pPr marL="2514350" indent="-228578" algn="l" defTabSz="45715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04" indent="-228578" algn="l" defTabSz="45715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58" indent="-228578" algn="l" defTabSz="45715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12" indent="-228578" algn="l" defTabSz="45715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4571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4571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10" algn="l" defTabSz="4571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4" algn="l" defTabSz="4571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8" algn="l" defTabSz="4571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2" algn="l" defTabSz="4571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6" algn="l" defTabSz="4571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4571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4" algn="l" defTabSz="4571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2.png"/><Relationship Id="rId5" Type="http://schemas.openxmlformats.org/officeDocument/2006/relationships/image" Target="../media/image11.jpeg"/><Relationship Id="rId4" Type="http://schemas.openxmlformats.org/officeDocument/2006/relationships/image" Target="../media/image10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2CDA731-0397-FE4B-2298-47F7C2C989F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rrow: Chevron 1">
            <a:extLst>
              <a:ext uri="{FF2B5EF4-FFF2-40B4-BE49-F238E27FC236}">
                <a16:creationId xmlns:a16="http://schemas.microsoft.com/office/drawing/2014/main" id="{1AEE151E-5EE5-F105-EA00-62ED49C6066D}"/>
              </a:ext>
            </a:extLst>
          </p:cNvPr>
          <p:cNvSpPr/>
          <p:nvPr/>
        </p:nvSpPr>
        <p:spPr>
          <a:xfrm>
            <a:off x="319224" y="271142"/>
            <a:ext cx="3207191" cy="910320"/>
          </a:xfrm>
          <a:prstGeom prst="chevron">
            <a:avLst/>
          </a:prstGeom>
          <a:solidFill>
            <a:srgbClr val="00003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54">
              <a:defRPr/>
            </a:pPr>
            <a:endParaRPr lang="en-US">
              <a:solidFill>
                <a:srgbClr val="000032"/>
              </a:solidFill>
              <a:latin typeface="Calibri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3FA2A04-BABB-40AB-CD3E-8F0DE12C1D77}"/>
              </a:ext>
            </a:extLst>
          </p:cNvPr>
          <p:cNvSpPr txBox="1"/>
          <p:nvPr/>
        </p:nvSpPr>
        <p:spPr>
          <a:xfrm>
            <a:off x="550734" y="284053"/>
            <a:ext cx="2782959" cy="1708158"/>
          </a:xfrm>
          <a:prstGeom prst="rect">
            <a:avLst/>
          </a:prstGeom>
          <a:noFill/>
        </p:spPr>
        <p:txBody>
          <a:bodyPr wrap="square" lIns="45717" tIns="22859" rIns="45717" bIns="22859" rtlCol="0" anchor="t">
            <a:spAutoFit/>
          </a:bodyPr>
          <a:lstStyle/>
          <a:p>
            <a:pPr algn="ctr" defTabSz="457154">
              <a:defRPr/>
            </a:pPr>
            <a:r>
              <a:rPr lang="en-US" sz="3000" b="1">
                <a:solidFill>
                  <a:srgbClr val="FFFFFF"/>
                </a:solidFill>
                <a:latin typeface="Aptos"/>
                <a:ea typeface="Calibri"/>
                <a:cs typeface="Calibri"/>
              </a:rPr>
              <a:t>TRIAL</a:t>
            </a:r>
            <a:endParaRPr lang="en-US" sz="2400" b="1">
              <a:solidFill>
                <a:srgbClr val="FFFFFF"/>
              </a:solidFill>
              <a:latin typeface="Aptos"/>
              <a:ea typeface="Calibri"/>
              <a:cs typeface="Calibri"/>
            </a:endParaRPr>
          </a:p>
          <a:p>
            <a:pPr algn="ctr" defTabSz="457154">
              <a:defRPr/>
            </a:pPr>
            <a:r>
              <a:rPr lang="en-US" sz="2400">
                <a:solidFill>
                  <a:srgbClr val="FFFFFF"/>
                </a:solidFill>
                <a:latin typeface="Aptos"/>
                <a:ea typeface="Calibri"/>
                <a:cs typeface="Calibri"/>
              </a:rPr>
              <a:t>ON PREMISE</a:t>
            </a:r>
          </a:p>
          <a:p>
            <a:pPr marL="285736" indent="-285736" algn="ctr" defTabSz="457154">
              <a:buFont typeface="Arial" panose="020B0604020202020204" pitchFamily="34" charset="0"/>
              <a:buChar char="•"/>
              <a:defRPr/>
            </a:pPr>
            <a:endParaRPr lang="en-US" sz="2700">
              <a:solidFill>
                <a:srgbClr val="FFFFFF"/>
              </a:solidFill>
              <a:latin typeface="Calibri"/>
              <a:ea typeface="Calibri"/>
              <a:cs typeface="Calibri"/>
            </a:endParaRPr>
          </a:p>
          <a:p>
            <a:pPr marL="285736" indent="-285736" algn="ctr" defTabSz="457154">
              <a:buFont typeface="Arial" panose="020B0604020202020204" pitchFamily="34" charset="0"/>
              <a:buChar char="•"/>
              <a:defRPr/>
            </a:pPr>
            <a:endParaRPr lang="en-US" sz="2700">
              <a:solidFill>
                <a:srgbClr val="FFFFFF"/>
              </a:solidFill>
              <a:latin typeface="Calibri"/>
              <a:ea typeface="Calibri"/>
              <a:cs typeface="Calibri"/>
            </a:endParaRPr>
          </a:p>
        </p:txBody>
      </p:sp>
      <p:pic>
        <p:nvPicPr>
          <p:cNvPr id="12" name="Picture 11" descr="A black and gold text&#10;&#10;Description automatically generated">
            <a:extLst>
              <a:ext uri="{FF2B5EF4-FFF2-40B4-BE49-F238E27FC236}">
                <a16:creationId xmlns:a16="http://schemas.microsoft.com/office/drawing/2014/main" id="{1FFA35F6-4ECD-2F51-D123-39367022BD9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60227" y="224785"/>
            <a:ext cx="1726976" cy="736504"/>
          </a:xfrm>
          <a:prstGeom prst="rect">
            <a:avLst/>
          </a:prstGeom>
        </p:spPr>
      </p:pic>
      <p:sp>
        <p:nvSpPr>
          <p:cNvPr id="4" name="Google Shape;242;p16">
            <a:extLst>
              <a:ext uri="{FF2B5EF4-FFF2-40B4-BE49-F238E27FC236}">
                <a16:creationId xmlns:a16="http://schemas.microsoft.com/office/drawing/2014/main" id="{E4C1D784-005F-8FB4-0E32-85810C00E09D}"/>
              </a:ext>
            </a:extLst>
          </p:cNvPr>
          <p:cNvSpPr txBox="1">
            <a:spLocks/>
          </p:cNvSpPr>
          <p:nvPr/>
        </p:nvSpPr>
        <p:spPr>
          <a:xfrm>
            <a:off x="4157810" y="87625"/>
            <a:ext cx="6424597" cy="20075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84" tIns="121884" rIns="121884" bIns="121884" anchor="t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457177">
              <a:buSzPts val="990"/>
              <a:defRPr/>
            </a:pPr>
            <a:r>
              <a:rPr lang="en-US" sz="4000">
                <a:solidFill>
                  <a:srgbClr val="0B0D33"/>
                </a:solidFill>
                <a:latin typeface="Raleway"/>
                <a:ea typeface="Raleway"/>
                <a:cs typeface="Raleway"/>
                <a:sym typeface="Raleway"/>
              </a:rPr>
              <a:t>TARGET ACCOUNTS 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5508DCD-58C3-86DC-68C2-CDF9E6EDDA6F}"/>
              </a:ext>
            </a:extLst>
          </p:cNvPr>
          <p:cNvSpPr txBox="1"/>
          <p:nvPr/>
        </p:nvSpPr>
        <p:spPr>
          <a:xfrm>
            <a:off x="1031838" y="1301515"/>
            <a:ext cx="6097375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457154"/>
            <a:r>
              <a:rPr lang="en-US" sz="2200" b="1" kern="100">
                <a:solidFill>
                  <a:prstClr val="black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284A175-4309-8A0D-2CA9-E7D857011606}"/>
              </a:ext>
            </a:extLst>
          </p:cNvPr>
          <p:cNvSpPr txBox="1"/>
          <p:nvPr/>
        </p:nvSpPr>
        <p:spPr>
          <a:xfrm>
            <a:off x="2822096" y="1289204"/>
            <a:ext cx="6097375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457154"/>
            <a:r>
              <a:rPr lang="en-US" sz="2400" b="1" kern="100">
                <a:solidFill>
                  <a:prstClr val="black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Mixology Bar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8C0C863-877C-50AC-7502-E826FF7560CC}"/>
              </a:ext>
            </a:extLst>
          </p:cNvPr>
          <p:cNvSpPr txBox="1"/>
          <p:nvPr/>
        </p:nvSpPr>
        <p:spPr>
          <a:xfrm>
            <a:off x="7031405" y="3882787"/>
            <a:ext cx="6097375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457154"/>
            <a:r>
              <a:rPr lang="en-US" sz="2400" b="1" kern="100">
                <a:solidFill>
                  <a:prstClr val="black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Italian Restaurant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63757BE-B0DF-A261-ED85-0DD791241ED2}"/>
              </a:ext>
            </a:extLst>
          </p:cNvPr>
          <p:cNvSpPr txBox="1"/>
          <p:nvPr/>
        </p:nvSpPr>
        <p:spPr>
          <a:xfrm>
            <a:off x="7345367" y="1276980"/>
            <a:ext cx="6267485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457154"/>
            <a:r>
              <a:rPr lang="en-US" sz="2400" b="1" kern="100">
                <a:solidFill>
                  <a:prstClr val="black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Wine &amp; Tapas Bar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6BC52955-1520-85FD-631F-FD7D1CC18D45}"/>
              </a:ext>
            </a:extLst>
          </p:cNvPr>
          <p:cNvSpPr txBox="1"/>
          <p:nvPr/>
        </p:nvSpPr>
        <p:spPr>
          <a:xfrm>
            <a:off x="2374401" y="3892266"/>
            <a:ext cx="3404622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457154"/>
            <a:r>
              <a:rPr lang="en-US" sz="2400" b="1" kern="100">
                <a:solidFill>
                  <a:prstClr val="black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Trendy Brunch Spots</a:t>
            </a:r>
          </a:p>
        </p:txBody>
      </p:sp>
      <p:pic>
        <p:nvPicPr>
          <p:cNvPr id="14340" name="Picture 4" descr="20 incredible restaurants to eat at in Italy - Business Insider">
            <a:extLst>
              <a:ext uri="{FF2B5EF4-FFF2-40B4-BE49-F238E27FC236}">
                <a16:creationId xmlns:a16="http://schemas.microsoft.com/office/drawing/2014/main" id="{03F78B46-2EB4-D1A0-F831-5A648E84527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0596" y="4265748"/>
            <a:ext cx="4331722" cy="21658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342" name="Picture 6" descr="The Best Wine Bars in the City – One City London">
            <a:extLst>
              <a:ext uri="{FF2B5EF4-FFF2-40B4-BE49-F238E27FC236}">
                <a16:creationId xmlns:a16="http://schemas.microsoft.com/office/drawing/2014/main" id="{61FC51A7-CF23-A25F-2351-7DA6E36235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41468" y="1781666"/>
            <a:ext cx="4340939" cy="20239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344" name="Picture 8" descr="The Best 20 Places for Brunch in Los Angeles">
            <a:extLst>
              <a:ext uri="{FF2B5EF4-FFF2-40B4-BE49-F238E27FC236}">
                <a16:creationId xmlns:a16="http://schemas.microsoft.com/office/drawing/2014/main" id="{C50F77F4-9C61-D869-91D5-DDB9B3E416C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275"/>
          <a:stretch/>
        </p:blipFill>
        <p:spPr bwMode="auto">
          <a:xfrm>
            <a:off x="1459260" y="4330093"/>
            <a:ext cx="4326470" cy="20887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TextBox 31">
            <a:extLst>
              <a:ext uri="{FF2B5EF4-FFF2-40B4-BE49-F238E27FC236}">
                <a16:creationId xmlns:a16="http://schemas.microsoft.com/office/drawing/2014/main" id="{0969396D-2E2A-9B3D-839A-30E89A0DBE75}"/>
              </a:ext>
            </a:extLst>
          </p:cNvPr>
          <p:cNvSpPr txBox="1"/>
          <p:nvPr/>
        </p:nvSpPr>
        <p:spPr>
          <a:xfrm>
            <a:off x="96787" y="1809790"/>
            <a:ext cx="1195608" cy="20621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457154"/>
            <a:r>
              <a:rPr lang="en-US" sz="1600" kern="100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600" b="1" kern="100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spresso Martini </a:t>
            </a:r>
          </a:p>
          <a:p>
            <a:pPr algn="ctr" defTabSz="457154"/>
            <a:endParaRPr lang="en-US" sz="1600" kern="100">
              <a:solidFill>
                <a:prstClr val="black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ctr" defTabSz="457154"/>
            <a:r>
              <a:rPr lang="en-US" sz="1600" kern="100" err="1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utentico</a:t>
            </a:r>
            <a:r>
              <a:rPr lang="en-US" sz="1600" kern="100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Sour </a:t>
            </a:r>
          </a:p>
          <a:p>
            <a:pPr algn="ctr" defTabSz="457154"/>
            <a:endParaRPr lang="en-US" sz="1600" kern="100">
              <a:solidFill>
                <a:prstClr val="black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ctr" defTabSz="457154"/>
            <a:r>
              <a:rPr lang="en-US" sz="1600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peritivo Negroni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23A06417-9703-22B8-85F7-760217C36152}"/>
              </a:ext>
            </a:extLst>
          </p:cNvPr>
          <p:cNvSpPr txBox="1"/>
          <p:nvPr/>
        </p:nvSpPr>
        <p:spPr>
          <a:xfrm>
            <a:off x="10710004" y="4242393"/>
            <a:ext cx="1042683" cy="20621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457154"/>
            <a:r>
              <a:rPr lang="en-US" sz="1600" b="1" kern="100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spresso Martini</a:t>
            </a:r>
          </a:p>
          <a:p>
            <a:pPr algn="ctr" defTabSz="457154"/>
            <a:r>
              <a:rPr lang="en-US" sz="1600" kern="100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</a:p>
          <a:p>
            <a:pPr algn="ctr" defTabSz="457154"/>
            <a:r>
              <a:rPr lang="en-US" sz="1600" kern="100" err="1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utentico</a:t>
            </a:r>
            <a:br>
              <a:rPr lang="en-US" sz="1600" kern="100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1600" kern="100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our</a:t>
            </a:r>
          </a:p>
          <a:p>
            <a:pPr algn="ctr" defTabSz="457154"/>
            <a:endParaRPr lang="en-US" sz="1600" kern="100">
              <a:solidFill>
                <a:prstClr val="black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ctr" defTabSz="457154"/>
            <a:r>
              <a:rPr lang="en-US" sz="1600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talian Spritz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820B8A5A-452D-1E15-DAC5-8BC8149B2ABB}"/>
              </a:ext>
            </a:extLst>
          </p:cNvPr>
          <p:cNvSpPr txBox="1"/>
          <p:nvPr/>
        </p:nvSpPr>
        <p:spPr>
          <a:xfrm>
            <a:off x="10600943" y="1726690"/>
            <a:ext cx="1277245" cy="20621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457154"/>
            <a:r>
              <a:rPr lang="en-US" sz="1600" b="1" kern="100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spresso </a:t>
            </a:r>
          </a:p>
          <a:p>
            <a:pPr algn="ctr" defTabSz="457154"/>
            <a:r>
              <a:rPr lang="en-US" sz="1600" b="1" kern="100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artini</a:t>
            </a:r>
          </a:p>
          <a:p>
            <a:pPr algn="ctr" defTabSz="457154"/>
            <a:endParaRPr lang="en-US" sz="1600" kern="100">
              <a:solidFill>
                <a:prstClr val="black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ctr" defTabSz="457154"/>
            <a:r>
              <a:rPr lang="en-US" sz="1600" kern="100" err="1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utentico</a:t>
            </a:r>
            <a:br>
              <a:rPr lang="en-US" sz="1600" kern="100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1600" kern="100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pritz </a:t>
            </a:r>
          </a:p>
          <a:p>
            <a:pPr algn="ctr" defTabSz="457154"/>
            <a:endParaRPr lang="en-US" sz="1600" kern="100">
              <a:solidFill>
                <a:prstClr val="black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ctr" defTabSz="457154"/>
            <a:r>
              <a:rPr lang="en-US" sz="1600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peritivo Negroni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09DE19CE-3B0C-A763-17E0-3DB763640769}"/>
              </a:ext>
            </a:extLst>
          </p:cNvPr>
          <p:cNvSpPr txBox="1"/>
          <p:nvPr/>
        </p:nvSpPr>
        <p:spPr>
          <a:xfrm>
            <a:off x="28111" y="4307765"/>
            <a:ext cx="1343463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457154"/>
            <a:r>
              <a:rPr lang="en-US" sz="1600" b="1" kern="100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spresso Martini</a:t>
            </a:r>
          </a:p>
          <a:p>
            <a:pPr algn="ctr" defTabSz="457154"/>
            <a:endParaRPr lang="en-US" sz="1600" kern="100">
              <a:solidFill>
                <a:prstClr val="black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ctr" defTabSz="457154"/>
            <a:r>
              <a:rPr lang="en-US" sz="1600" kern="100" err="1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utentico</a:t>
            </a:r>
            <a:br>
              <a:rPr lang="en-US" sz="1600" kern="100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1600" kern="100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imosa</a:t>
            </a:r>
          </a:p>
          <a:p>
            <a:pPr algn="ctr" defTabSz="457154"/>
            <a:endParaRPr lang="en-US" sz="1600" kern="100">
              <a:solidFill>
                <a:prstClr val="black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ctr" defTabSz="457154"/>
            <a:r>
              <a:rPr lang="en-US" sz="1600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peritivo</a:t>
            </a:r>
            <a:br>
              <a:rPr lang="en-US" sz="1600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1600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pritz</a:t>
            </a:r>
          </a:p>
          <a:p>
            <a:pPr marL="285736" indent="-285736" algn="ctr" defTabSz="457154">
              <a:buFontTx/>
              <a:buChar char="-"/>
            </a:pPr>
            <a:endParaRPr lang="en-US" sz="1600">
              <a:solidFill>
                <a:prstClr val="black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0488544-D73E-4F47-F4C6-7E6C5BFBA899}"/>
              </a:ext>
            </a:extLst>
          </p:cNvPr>
          <p:cNvSpPr txBox="1"/>
          <p:nvPr/>
        </p:nvSpPr>
        <p:spPr>
          <a:xfrm>
            <a:off x="3728992" y="658747"/>
            <a:ext cx="6094476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457177"/>
            <a:r>
              <a:rPr lang="en-US" sz="2200">
                <a:solidFill>
                  <a:srgbClr val="000032"/>
                </a:solidFill>
                <a:latin typeface="Calibri"/>
              </a:rPr>
              <a:t>AND SUGGESTED COCKTAIL VARIATIONS</a:t>
            </a:r>
          </a:p>
        </p:txBody>
      </p:sp>
      <p:pic>
        <p:nvPicPr>
          <p:cNvPr id="6" name="Picture 5" descr="A person pouring a drink into a row of glasses&#10;&#10;AI-generated content may be incorrect.">
            <a:extLst>
              <a:ext uri="{FF2B5EF4-FFF2-40B4-BE49-F238E27FC236}">
                <a16:creationId xmlns:a16="http://schemas.microsoft.com/office/drawing/2014/main" id="{BA67775D-B322-6416-0CCD-20796E8B9C0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59260" y="1781666"/>
            <a:ext cx="4319763" cy="2018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89315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43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43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43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  <p:bldP spid="19" grpId="0"/>
      <p:bldP spid="21" grpId="0"/>
      <p:bldP spid="34" grpId="0"/>
      <p:bldP spid="36" grpId="0"/>
      <p:bldP spid="38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oNQgjRZPmxZHfBdLgLwB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6_BOLS">
  <a:themeElements>
    <a:clrScheme name="Lucas Bols Template">
      <a:dk1>
        <a:srgbClr val="000032"/>
      </a:dk1>
      <a:lt1>
        <a:srgbClr val="FFFFFF"/>
      </a:lt1>
      <a:dk2>
        <a:srgbClr val="C3CED9"/>
      </a:dk2>
      <a:lt2>
        <a:srgbClr val="FF453A"/>
      </a:lt2>
      <a:accent1>
        <a:srgbClr val="00D441"/>
      </a:accent1>
      <a:accent2>
        <a:srgbClr val="FFFFFF"/>
      </a:accent2>
      <a:accent3>
        <a:srgbClr val="FFFFFF"/>
      </a:accent3>
      <a:accent4>
        <a:srgbClr val="FFFFFF"/>
      </a:accent4>
      <a:accent5>
        <a:srgbClr val="FFFFFF"/>
      </a:accent5>
      <a:accent6>
        <a:srgbClr val="FFFFFF"/>
      </a:accent6>
      <a:hlink>
        <a:srgbClr val="FFFFFF"/>
      </a:hlink>
      <a:folHlink>
        <a:srgbClr val="FFFFFF"/>
      </a:folHlink>
    </a:clrScheme>
    <a:fontScheme name="Kanto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003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51</Words>
  <Application>Microsoft Office PowerPoint</Application>
  <PresentationFormat>Widescreen</PresentationFormat>
  <Paragraphs>3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1" baseType="lpstr">
      <vt:lpstr>Adobe Caslon Pro Bold</vt:lpstr>
      <vt:lpstr>Aptos</vt:lpstr>
      <vt:lpstr>Arial</vt:lpstr>
      <vt:lpstr>Calibri</vt:lpstr>
      <vt:lpstr>Helvetica Neue LT Pro 53 Extend</vt:lpstr>
      <vt:lpstr>HelveticaNeueLT Pro 53 Ex</vt:lpstr>
      <vt:lpstr>HelveticaNeueLT Pro 63 MdEx</vt:lpstr>
      <vt:lpstr>Raleway</vt:lpstr>
      <vt:lpstr>6_BOLS</vt:lpstr>
      <vt:lpstr>think-cell Slid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Ignacio Llaneza</dc:creator>
  <cp:lastModifiedBy>Ignacio Llaneza</cp:lastModifiedBy>
  <cp:revision>1</cp:revision>
  <dcterms:created xsi:type="dcterms:W3CDTF">2025-08-27T17:30:30Z</dcterms:created>
  <dcterms:modified xsi:type="dcterms:W3CDTF">2025-08-27T17:30:48Z</dcterms:modified>
</cp:coreProperties>
</file>